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1"/>
    <p:sldMasterId id="2147484214" r:id="rId2"/>
    <p:sldMasterId id="2147484220" r:id="rId3"/>
    <p:sldMasterId id="2147484226" r:id="rId4"/>
  </p:sldMasterIdLst>
  <p:notesMasterIdLst>
    <p:notesMasterId r:id="rId35"/>
  </p:notesMasterIdLst>
  <p:handoutMasterIdLst>
    <p:handoutMasterId r:id="rId36"/>
  </p:handoutMasterIdLst>
  <p:sldIdLst>
    <p:sldId id="736" r:id="rId5"/>
    <p:sldId id="756" r:id="rId6"/>
    <p:sldId id="755" r:id="rId7"/>
    <p:sldId id="758" r:id="rId8"/>
    <p:sldId id="757" r:id="rId9"/>
    <p:sldId id="759" r:id="rId10"/>
    <p:sldId id="760" r:id="rId11"/>
    <p:sldId id="761" r:id="rId12"/>
    <p:sldId id="762" r:id="rId13"/>
    <p:sldId id="763" r:id="rId14"/>
    <p:sldId id="764" r:id="rId15"/>
    <p:sldId id="765" r:id="rId16"/>
    <p:sldId id="766" r:id="rId17"/>
    <p:sldId id="767" r:id="rId18"/>
    <p:sldId id="737" r:id="rId19"/>
    <p:sldId id="741" r:id="rId20"/>
    <p:sldId id="738" r:id="rId21"/>
    <p:sldId id="739" r:id="rId22"/>
    <p:sldId id="740" r:id="rId23"/>
    <p:sldId id="742" r:id="rId24"/>
    <p:sldId id="747" r:id="rId25"/>
    <p:sldId id="744" r:id="rId26"/>
    <p:sldId id="745" r:id="rId27"/>
    <p:sldId id="746" r:id="rId28"/>
    <p:sldId id="748" r:id="rId29"/>
    <p:sldId id="749" r:id="rId30"/>
    <p:sldId id="750" r:id="rId31"/>
    <p:sldId id="752" r:id="rId32"/>
    <p:sldId id="753" r:id="rId33"/>
    <p:sldId id="754" r:id="rId34"/>
  </p:sldIdLst>
  <p:sldSz cx="9144000" cy="6858000" type="screen4x3"/>
  <p:notesSz cx="6797675" cy="992663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3838"/>
    <a:srgbClr val="3366CC"/>
    <a:srgbClr val="0066FF"/>
    <a:srgbClr val="3399FF"/>
    <a:srgbClr val="5A98D0"/>
    <a:srgbClr val="268FA8"/>
    <a:srgbClr val="336600"/>
    <a:srgbClr val="8DC6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59" autoAdjust="0"/>
    <p:restoredTop sz="96437" autoAdjust="0"/>
  </p:normalViewPr>
  <p:slideViewPr>
    <p:cSldViewPr snapToGrid="0">
      <p:cViewPr>
        <p:scale>
          <a:sx n="70" d="100"/>
          <a:sy n="70" d="100"/>
        </p:scale>
        <p:origin x="-474" y="-1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5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76651A48-86B7-465C-810B-A0895E227A57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D8FA1C1-70C1-4A3F-A880-C91F2A98C88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49266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D2D85A0-5935-4F4E-BF07-DCD033860E86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56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B725D38-EE68-4A1B-BB52-688C7002553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37021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B5AA3-945A-48BB-8078-FEDBEB13E825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E1B2C3-87DB-41AC-B270-85FB1696294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77F8D-79DA-4685-B206-0F37ACF61A23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697F68-7CD7-414F-AD34-317B93E6ECB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3E3D0D-12BD-44A8-AEDB-D1CFD7BDB793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51CF9D-E580-4906-914D-8E424090328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3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49" descr="BCG_Logotype_Regular_rev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2582863" y="5832475"/>
            <a:ext cx="397827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6931025" y="6300788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buClrTx/>
              <a:buFontTx/>
              <a:buNone/>
              <a:defRPr sz="1200"/>
            </a:lvl1pPr>
          </a:lstStyle>
          <a:p>
            <a:pPr>
              <a:defRPr/>
            </a:pPr>
            <a:fld id="{52E275C7-FBFD-4B6F-9756-7EC05D3E899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3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PPT_BASE BRAIN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ED51EF-B6DE-49C7-B708-26F27C87C9F4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8E4D6-97DF-4ECD-810B-995C2AB7063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3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PPT_BASE BRAIN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EE099C-8491-4FEB-99C6-3678337611AF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31CBFF-93D2-4342-A9E1-35E50EB2FA9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3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PPT_BASE BRAIN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6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37AB2-3C9F-4B2A-95D6-387CB9CF7EDD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2AACC5-F4E1-458B-87D6-51A3CAA6D1B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49" descr="BCG_Logotype_Regular_rev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2582863" y="5832475"/>
            <a:ext cx="397827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6931025" y="6300788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buClrTx/>
              <a:buFontTx/>
              <a:buNone/>
              <a:defRPr sz="12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EFB2D8F-BEB3-49A6-A39D-50D4176AB68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PPT_BASE BRAIN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191D92B-FE9D-41D9-B13B-3AB427AD0ABE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575ED62-AA3C-4FFC-BB87-7D000CBD5D5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PPT_BASE BRAIN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6DC001-5B92-4501-9F48-EF2439C41D02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1A95B51-06EF-4D51-9466-57642AF58B6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C42D9C-79FC-45E6-ACE1-AA996C78020A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C315B1-F6A0-4ED7-9031-5DDE43DF6BB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PPT_BASE BRAIN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6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AE8E674-FFE0-4E84-8223-6DCD77B9426F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7062B67-3656-4BA7-AE46-D603E8B5D63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9DB85B-DE93-48BA-90AE-1C2B99E7988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B5847D-BC24-4FA6-9B53-5569FE93FBA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1F91B0-D99D-4086-B5E5-281D7FCBB83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894D1-6DBB-4DAC-AEE1-AA4A874F39B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2F772C-D5DA-40BA-B8C0-14634429991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B2DFC7-FBF8-416D-9338-EF26792F869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2AAF59-50CC-425B-8682-340B85B4E7B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121BBA-387A-4BB2-9A56-2F8B9A513B0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5F3C58-63C1-4EEB-972F-413A0924EB4E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C8BE09-8913-415C-909C-10F2844D593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44F0DE-F514-47E9-98DB-E8114110281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861ABC-5662-40C6-8DB8-D921E62DC41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DEB1EA-2A82-445C-8BBD-27D80AD781D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67AD4-6530-43B0-A1E7-483CCFFC0D37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60ACA-D0C1-4F60-9882-EA0B892FCE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9C03A9-F374-4383-8D05-CB8976A61E3F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46D1BE-2D6D-4B8F-B1AB-47139568C65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E8F8B-1191-4D5D-AE5F-9E1E91B6E896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A7A53-875E-4E77-97AF-5EC3DF01040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0F93E-F75E-43E9-A5E8-2EE52A696D4C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A57AC-0EB9-4B90-95B3-03E7407769C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9A3F08-7561-4999-A05E-F92DBD01200C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A07FB-7AFC-48B1-9C71-5B8D4A3316E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888974-84D1-48CA-8E28-65017A95641C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413E-DB85-4E2E-A6B8-FEA7DBB16C3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6.v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  <a:p>
            <a:pPr lvl="3"/>
            <a:r>
              <a:rPr lang="pt-BR" altLang="pt-BR" smtClean="0"/>
              <a:t>Quarto nível</a:t>
            </a:r>
          </a:p>
          <a:p>
            <a:pPr lvl="4"/>
            <a:r>
              <a:rPr lang="pt-BR" alt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8948637-BFB9-4F15-809C-9229108387C7}" type="datetimeFigureOut">
              <a:rPr lang="pt-BR"/>
              <a:pPr>
                <a:defRPr/>
              </a:pPr>
              <a:t>11/04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681B991-A854-4973-937D-D04123A2C20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2" r:id="rId1"/>
    <p:sldLayoutId id="2147485193" r:id="rId2"/>
    <p:sldLayoutId id="2147485194" r:id="rId3"/>
    <p:sldLayoutId id="2147485195" r:id="rId4"/>
    <p:sldLayoutId id="2147485196" r:id="rId5"/>
    <p:sldLayoutId id="2147485197" r:id="rId6"/>
    <p:sldLayoutId id="2147485198" r:id="rId7"/>
    <p:sldLayoutId id="2147485199" r:id="rId8"/>
    <p:sldLayoutId id="2147485200" r:id="rId9"/>
    <p:sldLayoutId id="2147485201" r:id="rId10"/>
    <p:sldLayoutId id="2147485202" r:id="rId1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AutoShape 3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7" descr="PPT_BASE BRAIN-01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Slide title</a:t>
            </a:r>
          </a:p>
        </p:txBody>
      </p:sp>
      <p:sp>
        <p:nvSpPr>
          <p:cNvPr id="2053" name="Rectangle 10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434975" y="1508125"/>
            <a:ext cx="8274050" cy="461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Body text</a:t>
            </a:r>
          </a:p>
          <a:p>
            <a:pPr lvl="1"/>
            <a:r>
              <a:rPr lang="pt-BR" altLang="pt-BR" smtClean="0"/>
              <a:t>First level</a:t>
            </a:r>
          </a:p>
          <a:p>
            <a:pPr lvl="2"/>
            <a:r>
              <a:rPr lang="pt-BR" altLang="pt-BR" smtClean="0"/>
              <a:t>Second level</a:t>
            </a:r>
          </a:p>
          <a:p>
            <a:pPr lvl="3"/>
            <a:r>
              <a:rPr lang="pt-BR" altLang="pt-BR" smtClean="0"/>
              <a:t>Third level</a:t>
            </a:r>
          </a:p>
          <a:p>
            <a:pPr lvl="4"/>
            <a:r>
              <a:rPr lang="pt-BR" altLang="pt-BR" smtClean="0"/>
              <a:t>Quotation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219" r:id="rId4"/>
    <p:sldLayoutId id="2147485203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+mj-ea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b="1">
          <a:solidFill>
            <a:schemeClr val="tx1"/>
          </a:solidFill>
          <a:latin typeface="Arial" charset="0"/>
          <a:ea typeface="+mn-ea"/>
          <a:cs typeface="Arial" charset="0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AutoShape 29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7" descr="PPT_BASE BRAIN-01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Slide title</a:t>
            </a:r>
          </a:p>
        </p:txBody>
      </p:sp>
      <p:sp>
        <p:nvSpPr>
          <p:cNvPr id="3077" name="Rectangle 10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434975" y="1508125"/>
            <a:ext cx="8274050" cy="461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Body text</a:t>
            </a:r>
          </a:p>
          <a:p>
            <a:pPr lvl="1"/>
            <a:r>
              <a:rPr lang="pt-BR" altLang="pt-BR" smtClean="0"/>
              <a:t>First level</a:t>
            </a:r>
          </a:p>
          <a:p>
            <a:pPr lvl="2"/>
            <a:r>
              <a:rPr lang="pt-BR" altLang="pt-BR" smtClean="0"/>
              <a:t>Second level</a:t>
            </a:r>
          </a:p>
          <a:p>
            <a:pPr lvl="3"/>
            <a:r>
              <a:rPr lang="pt-BR" altLang="pt-BR" smtClean="0"/>
              <a:t>Third level</a:t>
            </a:r>
          </a:p>
          <a:p>
            <a:pPr lvl="4"/>
            <a:r>
              <a:rPr lang="pt-BR" altLang="pt-BR" smtClean="0"/>
              <a:t>Quotation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20" r:id="rId1"/>
    <p:sldLayoutId id="2147485221" r:id="rId2"/>
    <p:sldLayoutId id="2147485222" r:id="rId3"/>
    <p:sldLayoutId id="2147485223" r:id="rId4"/>
    <p:sldLayoutId id="2147485204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+mj-ea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ea typeface="Arial" pitchFamily="-106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b="1">
          <a:solidFill>
            <a:schemeClr val="tx1"/>
          </a:solidFill>
          <a:latin typeface="Arial" charset="0"/>
          <a:ea typeface="+mn-ea"/>
          <a:cs typeface="Arial" charset="0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600">
          <a:solidFill>
            <a:schemeClr val="tx1"/>
          </a:solidFill>
          <a:latin typeface="Arial" charset="0"/>
          <a:ea typeface="+mn-ea"/>
          <a:cs typeface="Arial" charset="0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ck to edit Master title style</a:t>
            </a:r>
            <a:endParaRPr lang="en-US" altLang="pt-BR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ck to edit Master text styles</a:t>
            </a:r>
          </a:p>
          <a:p>
            <a:pPr lvl="1"/>
            <a:r>
              <a:rPr lang="pt-BR" altLang="pt-BR" smtClean="0"/>
              <a:t>Second level</a:t>
            </a:r>
          </a:p>
          <a:p>
            <a:pPr lvl="2"/>
            <a:r>
              <a:rPr lang="pt-BR" altLang="pt-BR" smtClean="0"/>
              <a:t>Third level</a:t>
            </a:r>
          </a:p>
          <a:p>
            <a:pPr lvl="3"/>
            <a:r>
              <a:rPr lang="pt-BR" altLang="pt-BR" smtClean="0"/>
              <a:t>Fourth level</a:t>
            </a:r>
          </a:p>
          <a:p>
            <a:pPr lvl="4"/>
            <a:r>
              <a:rPr lang="pt-BR" altLang="pt-BR" smtClean="0"/>
              <a:t>Fifth level</a:t>
            </a:r>
            <a:endParaRPr lang="en-US" altLang="pt-BR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319D2022-5071-4E3D-B33B-1A311F53B81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05" r:id="rId1"/>
    <p:sldLayoutId id="2147485206" r:id="rId2"/>
    <p:sldLayoutId id="2147485207" r:id="rId3"/>
    <p:sldLayoutId id="2147485208" r:id="rId4"/>
    <p:sldLayoutId id="2147485209" r:id="rId5"/>
    <p:sldLayoutId id="2147485210" r:id="rId6"/>
    <p:sldLayoutId id="2147485211" r:id="rId7"/>
    <p:sldLayoutId id="2147485212" r:id="rId8"/>
    <p:sldLayoutId id="2147485213" r:id="rId9"/>
    <p:sldLayoutId id="2147485214" r:id="rId10"/>
    <p:sldLayoutId id="2147485215" r:id="rId11"/>
    <p:sldLayoutId id="2147485224" r:id="rId12"/>
    <p:sldLayoutId id="2147485225" r:id="rId13"/>
    <p:sldLayoutId id="2147485226" r:id="rId14"/>
    <p:sldLayoutId id="2147485227" r:id="rId15"/>
    <p:sldLayoutId id="2147485228" r:id="rId16"/>
    <p:sldLayoutId id="2147485229" r:id="rId17"/>
    <p:sldLayoutId id="2147485230" r:id="rId18"/>
    <p:sldLayoutId id="2147485231" r:id="rId19"/>
    <p:sldLayoutId id="2147485232" r:id="rId20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2531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charset="0"/>
              <a:buNone/>
            </a:pPr>
            <a:endParaRPr lang="pt-BR" altLang="pt-BR" dirty="0" smtClean="0"/>
          </a:p>
          <a:p>
            <a:pPr marL="0" indent="0" algn="just">
              <a:buFont typeface="Arial" charset="0"/>
              <a:buNone/>
            </a:pPr>
            <a:r>
              <a:rPr lang="pt-BR" altLang="pt-BR" sz="4000" dirty="0" smtClean="0">
                <a:latin typeface="Tahoma" pitchFamily="34" charset="0"/>
                <a:cs typeface="Tahoma" pitchFamily="34" charset="0"/>
              </a:rPr>
              <a:t>“A Importância da Positivação de Princípios para a Efetiva Defesa da Empresa.”</a:t>
            </a:r>
          </a:p>
          <a:p>
            <a:pPr marL="0" indent="0" algn="just">
              <a:buFont typeface="Arial" charset="0"/>
              <a:buNone/>
            </a:pPr>
            <a:endParaRPr lang="pt-BR" altLang="pt-BR" sz="4000" dirty="0" smtClean="0">
              <a:latin typeface="Tahoma" pitchFamily="34" charset="0"/>
              <a:cs typeface="Tahoma" pitchFamily="34" charset="0"/>
            </a:endParaRPr>
          </a:p>
          <a:p>
            <a:pPr marL="0" indent="0" algn="r">
              <a:buFont typeface="Arial" charset="0"/>
              <a:buNone/>
            </a:pPr>
            <a:r>
              <a:rPr lang="pt-BR" altLang="pt-BR" sz="2800" dirty="0" smtClean="0">
                <a:latin typeface="Tahoma" pitchFamily="34" charset="0"/>
                <a:cs typeface="Tahoma" pitchFamily="34" charset="0"/>
              </a:rPr>
              <a:t>Expositor: Prof. Fernando Passos</a:t>
            </a:r>
          </a:p>
        </p:txBody>
      </p:sp>
      <p:pic>
        <p:nvPicPr>
          <p:cNvPr id="2253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93063" y="5792788"/>
            <a:ext cx="936625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3" name="Picture 3" descr="Cabeçalho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25800" y="5835650"/>
            <a:ext cx="4640263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) </a:t>
            </a:r>
            <a:r>
              <a:rPr lang="pt-BR" altLang="pt-BR" u="sng" dirty="0" err="1" smtClean="0">
                <a:latin typeface="Tahoma" pitchFamily="34" charset="0"/>
                <a:cs typeface="Tahoma" pitchFamily="34" charset="0"/>
              </a:rPr>
              <a:t>UPIs</a:t>
            </a: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 (Unidades Produtivas Isoladas)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    Art. 60 e 141 da Lei de Falências.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sz="1000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sz="3100" dirty="0" smtClean="0">
                <a:latin typeface="Tahoma" pitchFamily="34" charset="0"/>
                <a:cs typeface="Tahoma" pitchFamily="34" charset="0"/>
              </a:rPr>
              <a:t>Antes disso, ninguém se aventurava adquirir uma UPI ou mesmo filial, o que acarretava fim de empregos, tributos, desenvolvimento social e desmedido prejuízo aos credores.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sz="3100" dirty="0" smtClean="0">
                <a:latin typeface="Tahoma" pitchFamily="34" charset="0"/>
                <a:cs typeface="Tahoma" pitchFamily="34" charset="0"/>
              </a:rPr>
              <a:t>Mesmo após a Lei, diversas decisões inviabilizaram as </a:t>
            </a:r>
            <a:r>
              <a:rPr lang="pt-BR" altLang="pt-BR" sz="3100" dirty="0" err="1" smtClean="0">
                <a:latin typeface="Tahoma" pitchFamily="34" charset="0"/>
                <a:cs typeface="Tahoma" pitchFamily="34" charset="0"/>
              </a:rPr>
              <a:t>UPIs</a:t>
            </a:r>
            <a:r>
              <a:rPr lang="pt-BR" altLang="pt-BR" sz="3100" dirty="0" smtClean="0">
                <a:latin typeface="Tahoma" pitchFamily="34" charset="0"/>
                <a:cs typeface="Tahoma" pitchFamily="34" charset="0"/>
              </a:rPr>
              <a:t>, embora neste momento o Poder Judiciário esteja revendo tais posições, justamente pela clareza da positivação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i) Grupo Econômico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Nova redação dos §§ 2° e 3° do art. 2° da CLT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sz="1000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Somente após a publicação da Lei, decisões de 1ª Instância estão aplicando este obvio texto legal que já se fazia claro para o Direito Empresarial, mas era absolutamente ignorado na Justiça do Trabalho, onde contrariavam até mesmo o entendimento recente da SBDI-1 do TST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i) Grupo Econômico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Nova redação dos §§ 2° e 3° do art. 2° da CLT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Referida interpretação equivocada ocorria em visão unilateral do “Código de Defesa do Trabalhador” (CLT), pois inexistente </a:t>
            </a:r>
            <a:r>
              <a:rPr lang="pt-BR" altLang="pt-BR" dirty="0">
                <a:latin typeface="Tahoma" pitchFamily="34" charset="0"/>
                <a:cs typeface="Tahoma" pitchFamily="34" charset="0"/>
              </a:rPr>
              <a:t>o</a:t>
            </a: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 “Código de Defesa da Empresa”, que, na verdade, é o que faz gerar o emprego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2039208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Para o fim de se evitar estes e outros percalços vivenciados pelo empresariado no cenário de negócios brasileiro é que a explicitação dos Princípios do Direito Comercial/Empresarial </a:t>
            </a:r>
            <a:r>
              <a:rPr lang="pt-BR" altLang="pt-BR" b="1" dirty="0" smtClean="0">
                <a:latin typeface="Tahoma" pitchFamily="34" charset="0"/>
                <a:cs typeface="Tahoma" pitchFamily="34" charset="0"/>
              </a:rPr>
              <a:t>é essencial </a:t>
            </a: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para um Código que pretenda incentivar investimentos com segurança jurídica.</a:t>
            </a:r>
            <a:endParaRPr lang="pt-BR" altLang="pt-BR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984616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b="1" dirty="0" smtClean="0">
                <a:latin typeface="Tahoma" pitchFamily="34" charset="0"/>
                <a:cs typeface="Tahoma" pitchFamily="34" charset="0"/>
              </a:rPr>
              <a:t>Enquanto o Brasil não adotar um Código que defenda a segurança do investimento privado, como essencial ao desenvolvimento do país (art. 173 CF/88) continuaremos assistindo no plano internacional o que se verá a seguir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95363" y="2060575"/>
            <a:ext cx="3208337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14875" y="2070100"/>
            <a:ext cx="3471863" cy="455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28" name="Retângulo 7"/>
          <p:cNvSpPr>
            <a:spLocks noChangeArrowheads="1"/>
          </p:cNvSpPr>
          <p:nvPr/>
        </p:nvSpPr>
        <p:spPr bwMode="auto">
          <a:xfrm>
            <a:off x="906463" y="6624638"/>
            <a:ext cx="3719512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altLang="pt-BR" sz="900"/>
              <a:t>https://www.heritage.org/index/pdf/2018/book/index_2018.pdf</a:t>
            </a:r>
          </a:p>
        </p:txBody>
      </p:sp>
      <p:sp>
        <p:nvSpPr>
          <p:cNvPr id="26629" name="Retângulo 9"/>
          <p:cNvSpPr>
            <a:spLocks noChangeArrowheads="1"/>
          </p:cNvSpPr>
          <p:nvPr/>
        </p:nvSpPr>
        <p:spPr bwMode="auto">
          <a:xfrm>
            <a:off x="4651375" y="6624638"/>
            <a:ext cx="4225925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altLang="pt-BR" sz="900"/>
              <a:t>http://portugues.doingbusiness.org/reports/global-reports/doing-business-2018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6631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77850" y="1404938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tângulo 10"/>
          <p:cNvSpPr/>
          <p:nvPr/>
        </p:nvSpPr>
        <p:spPr>
          <a:xfrm>
            <a:off x="577850" y="1416347"/>
            <a:ext cx="805815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Estudos Internacionais que Não Podem ser Ignorados!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00" y="6362700"/>
            <a:ext cx="2159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7652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0563" y="1371600"/>
            <a:ext cx="7766050" cy="4900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00" y="6362700"/>
            <a:ext cx="2159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8676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50" y="1530350"/>
            <a:ext cx="9096375" cy="473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00" y="6362700"/>
            <a:ext cx="2159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9700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566863"/>
            <a:ext cx="9144000" cy="463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ipse 7"/>
          <p:cNvSpPr/>
          <p:nvPr/>
        </p:nvSpPr>
        <p:spPr>
          <a:xfrm>
            <a:off x="6097588" y="5281613"/>
            <a:ext cx="901700" cy="2794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0" name="Raio 9"/>
          <p:cNvSpPr/>
          <p:nvPr/>
        </p:nvSpPr>
        <p:spPr>
          <a:xfrm>
            <a:off x="4891088" y="4613275"/>
            <a:ext cx="1206500" cy="787400"/>
          </a:xfrm>
          <a:prstGeom prst="lightningBolt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00" y="6362700"/>
            <a:ext cx="2159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072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338" y="1624013"/>
            <a:ext cx="9077325" cy="433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2531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714500"/>
            <a:ext cx="8229600" cy="4525963"/>
          </a:xfrm>
        </p:spPr>
        <p:txBody>
          <a:bodyPr/>
          <a:lstStyle/>
          <a:p>
            <a:pPr marL="0" indent="0" algn="just">
              <a:buFont typeface="Arial" charset="0"/>
              <a:buNone/>
              <a:defRPr/>
            </a:pPr>
            <a:endParaRPr lang="pt-BR" altLang="pt-BR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 algn="just">
              <a:buFont typeface="Arial" charset="0"/>
              <a:buNone/>
              <a:defRPr/>
            </a:pPr>
            <a:r>
              <a:rPr lang="pt-BR" altLang="pt-BR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 Brasil precisa garantir ao empreendedor cenário transparente e seguro no que diz respeito ao exercício da atividade empresarial e suas consequências.</a:t>
            </a:r>
          </a:p>
          <a:p>
            <a:pPr marL="0" indent="0" algn="just">
              <a:buFont typeface="Arial" charset="0"/>
              <a:buNone/>
              <a:defRPr/>
            </a:pPr>
            <a:endParaRPr lang="pt-BR" altLang="pt-BR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 algn="just">
              <a:buFont typeface="Arial" charset="0"/>
              <a:buNone/>
              <a:defRPr/>
            </a:pPr>
            <a:r>
              <a:rPr lang="pt-BR" altLang="pt-BR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ás, enquanto esta tarefa não é cumprida, estamos ficando cada vez mais para trás!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00" y="6362700"/>
            <a:ext cx="2159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7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01725" y="4264025"/>
            <a:ext cx="699135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8" name="Picture 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96963" y="5137150"/>
            <a:ext cx="6981825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9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12838" y="5140325"/>
            <a:ext cx="69723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0" name="Picture 10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92200" y="4699000"/>
            <a:ext cx="6962775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1" name="Picture 1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92200" y="3349625"/>
            <a:ext cx="695325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2" name="Picture 1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101725" y="2460625"/>
            <a:ext cx="69437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3" name="Picture 1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101725" y="2894013"/>
            <a:ext cx="69723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4" name="Picture 1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101725" y="3810000"/>
            <a:ext cx="697230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5" name="Picture 1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120775" y="5581650"/>
            <a:ext cx="69723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6" name="Picture 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77850" y="1824038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tângulo 19"/>
          <p:cNvSpPr/>
          <p:nvPr/>
        </p:nvSpPr>
        <p:spPr>
          <a:xfrm>
            <a:off x="1232852" y="1835447"/>
            <a:ext cx="672909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ais Índices Apresentam os Nossos Vizinhos?</a:t>
            </a: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5" name="Picture 1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123950" y="6010275"/>
            <a:ext cx="69723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00138" y="5565775"/>
            <a:ext cx="6981825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3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317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17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00" y="6362700"/>
            <a:ext cx="2159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CaixaDeTexto 9"/>
          <p:cNvSpPr txBox="1">
            <a:spLocks noChangeArrowheads="1"/>
          </p:cNvSpPr>
          <p:nvPr/>
        </p:nvSpPr>
        <p:spPr bwMode="auto">
          <a:xfrm>
            <a:off x="654050" y="1860550"/>
            <a:ext cx="7880350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pt-BR" altLang="pt-BR" sz="3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O Brasil cai </a:t>
            </a:r>
            <a:r>
              <a:rPr lang="pt-BR" altLang="pt-BR" sz="3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para a 116ª posição em 2016, num total de 189 economias avaliadas.</a:t>
            </a:r>
          </a:p>
          <a:p>
            <a:pPr algn="just"/>
            <a:r>
              <a:rPr lang="pt-BR" altLang="pt-BR" sz="3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Já em 2017, atinge a 123ª </a:t>
            </a:r>
            <a:r>
              <a:rPr lang="pt-BR" altLang="pt-BR" sz="3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posição. Em </a:t>
            </a:r>
            <a:r>
              <a:rPr lang="pt-BR" altLang="pt-BR" sz="3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2018 continua a despencar, chegando à 125ª </a:t>
            </a:r>
            <a:r>
              <a:rPr lang="pt-BR" altLang="pt-BR" sz="3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posição, entre as 190 economias avaliadas. </a:t>
            </a:r>
            <a:endParaRPr lang="pt-BR" altLang="pt-BR" sz="3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3796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50825" y="1377950"/>
            <a:ext cx="859790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4820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9550" y="1323975"/>
            <a:ext cx="8721725" cy="494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584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4938" y="1400175"/>
            <a:ext cx="8839200" cy="482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lipse 9"/>
          <p:cNvSpPr/>
          <p:nvPr/>
        </p:nvSpPr>
        <p:spPr>
          <a:xfrm>
            <a:off x="3125788" y="2855913"/>
            <a:ext cx="901700" cy="2794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1" name="Raio 10"/>
          <p:cNvSpPr/>
          <p:nvPr/>
        </p:nvSpPr>
        <p:spPr>
          <a:xfrm>
            <a:off x="1898650" y="2197100"/>
            <a:ext cx="1206500" cy="787400"/>
          </a:xfrm>
          <a:prstGeom prst="lightningBolt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43613" y="4414838"/>
            <a:ext cx="2959100" cy="174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7850" y="1557338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tângulo 8"/>
          <p:cNvSpPr/>
          <p:nvPr/>
        </p:nvSpPr>
        <p:spPr>
          <a:xfrm>
            <a:off x="1232852" y="1568747"/>
            <a:ext cx="672909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ais Índices Apresentam os Nossos Vizinhos?</a:t>
            </a: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6870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3588" y="2028825"/>
            <a:ext cx="7686675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1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7850" y="1557338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tângulo 8"/>
          <p:cNvSpPr/>
          <p:nvPr/>
        </p:nvSpPr>
        <p:spPr>
          <a:xfrm>
            <a:off x="1232852" y="1568747"/>
            <a:ext cx="672909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ais Índices Apresentam os Nossos Vizinhos?</a:t>
            </a: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789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323975" y="2020888"/>
            <a:ext cx="3425825" cy="482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5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75263" y="4292600"/>
            <a:ext cx="2686050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8916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7688" y="1397000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tângulo 12"/>
          <p:cNvSpPr/>
          <p:nvPr/>
        </p:nvSpPr>
        <p:spPr>
          <a:xfrm>
            <a:off x="1165225" y="1427738"/>
            <a:ext cx="672909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Vamos Esmiuçar o Brasil?</a:t>
            </a:r>
          </a:p>
        </p:txBody>
      </p:sp>
      <p:pic>
        <p:nvPicPr>
          <p:cNvPr id="38918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38213" y="1882775"/>
            <a:ext cx="7277100" cy="433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9940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8488" y="1358900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tângulo 7"/>
          <p:cNvSpPr/>
          <p:nvPr/>
        </p:nvSpPr>
        <p:spPr>
          <a:xfrm>
            <a:off x="680720" y="1364238"/>
            <a:ext cx="7975599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O que Revela, para a América do Sul, o INDEX 2018?</a:t>
            </a:r>
          </a:p>
        </p:txBody>
      </p:sp>
      <p:sp>
        <p:nvSpPr>
          <p:cNvPr id="39942" name="CaixaDeTexto 7"/>
          <p:cNvSpPr txBox="1">
            <a:spLocks noChangeArrowheads="1"/>
          </p:cNvSpPr>
          <p:nvPr/>
        </p:nvSpPr>
        <p:spPr bwMode="auto">
          <a:xfrm>
            <a:off x="669925" y="2217738"/>
            <a:ext cx="7986713" cy="42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buFont typeface="Arial" charset="0"/>
              <a:buNone/>
            </a:pPr>
            <a:r>
              <a:rPr lang="pt-BR" altLang="pt-BR" sz="2000" dirty="0"/>
              <a:t>-   As Américas do Sul e Central estão “MENOS LIVRES” Economicamente!</a:t>
            </a:r>
          </a:p>
          <a:p>
            <a:pPr algn="just">
              <a:buFont typeface="Arial" charset="0"/>
              <a:buNone/>
            </a:pPr>
            <a:endParaRPr lang="pt-BR" altLang="pt-BR" sz="2000" dirty="0"/>
          </a:p>
          <a:p>
            <a:pPr algn="just">
              <a:buFont typeface="Arial" charset="0"/>
              <a:buNone/>
            </a:pPr>
            <a:r>
              <a:rPr lang="pt-BR" altLang="pt-BR" sz="2000" dirty="0"/>
              <a:t>-    O Chile continua a se despontar como a economia melhor estabelecida na América do Sul.</a:t>
            </a:r>
          </a:p>
          <a:p>
            <a:pPr algn="just">
              <a:buFont typeface="Arial" charset="0"/>
              <a:buNone/>
            </a:pPr>
            <a:endParaRPr lang="pt-BR" altLang="pt-BR" sz="1000" dirty="0"/>
          </a:p>
          <a:p>
            <a:pPr algn="just"/>
            <a:endParaRPr lang="pt-BR" altLang="pt-BR" sz="1000" dirty="0"/>
          </a:p>
          <a:p>
            <a:pPr algn="just"/>
            <a:r>
              <a:rPr lang="pt-BR" altLang="pt-BR" sz="2000" dirty="0" smtClean="0"/>
              <a:t>-   Bolívia</a:t>
            </a:r>
            <a:r>
              <a:rPr lang="pt-BR" altLang="pt-BR" sz="2000" dirty="0"/>
              <a:t>, Argentina e Venezuela eram as piores economias classificadas no ranking da América do Sul no INDEX 2016, sendo que o Brasil já havia caído 8 pontos com relação a 2014</a:t>
            </a:r>
            <a:r>
              <a:rPr lang="pt-BR" altLang="pt-BR" sz="2000" dirty="0" smtClean="0"/>
              <a:t>.</a:t>
            </a:r>
          </a:p>
          <a:p>
            <a:pPr algn="just"/>
            <a:endParaRPr lang="pt-BR" altLang="pt-BR" sz="2000" dirty="0" smtClean="0"/>
          </a:p>
          <a:p>
            <a:pPr algn="just"/>
            <a:r>
              <a:rPr lang="pt-BR" altLang="pt-BR" sz="2000" dirty="0" smtClean="0"/>
              <a:t>-       </a:t>
            </a:r>
            <a:r>
              <a:rPr lang="pt-BR" altLang="pt-BR" sz="2000" dirty="0"/>
              <a:t>No INDEX 2018, </a:t>
            </a:r>
            <a:r>
              <a:rPr lang="pt-BR" altLang="pt-BR" sz="2000" b="1" dirty="0"/>
              <a:t>o Brasil “conquistou” um lugar dentre as três piores economias na América do Sul</a:t>
            </a:r>
            <a:r>
              <a:rPr lang="pt-BR" altLang="pt-BR" sz="2000" dirty="0"/>
              <a:t>, caindo da 122ª para  a 153ª posição, estando ao lado, agora, da Bolívia e da Venezuela. </a:t>
            </a:r>
          </a:p>
          <a:p>
            <a:pPr algn="just"/>
            <a:endParaRPr lang="pt-BR" altLang="pt-BR" sz="10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6838" y="6257925"/>
            <a:ext cx="39671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096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8488" y="1358900"/>
            <a:ext cx="80581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tângulo 9"/>
          <p:cNvSpPr/>
          <p:nvPr/>
        </p:nvSpPr>
        <p:spPr>
          <a:xfrm>
            <a:off x="680720" y="1364238"/>
            <a:ext cx="7975599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anto Maior a Liberdade Econômica, Menor a Pobreza!</a:t>
            </a:r>
          </a:p>
        </p:txBody>
      </p:sp>
      <p:pic>
        <p:nvPicPr>
          <p:cNvPr id="40966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76388" y="1885950"/>
            <a:ext cx="5991225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579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0" algn="just">
              <a:buFont typeface="Arial" charset="0"/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Diante da Insegurança Jurídica com a qual se depara o investidor no cenário Brasileiro - onde há regras escritas, mas que são descaracterizadas por interpretações as mais diversas e em geral contrárias à empresa - a proposta é Positivar Princípios indispensáveis ao empreendedorismo saudável, visando conquistar investidores e reconquistar os que por aqui não querem mais empreender.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011" name="CaixaDeTexto 1"/>
          <p:cNvSpPr txBox="1">
            <a:spLocks noChangeArrowheads="1"/>
          </p:cNvSpPr>
          <p:nvPr/>
        </p:nvSpPr>
        <p:spPr bwMode="auto">
          <a:xfrm>
            <a:off x="2066925" y="3280919"/>
            <a:ext cx="525303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altLang="pt-BR" sz="4800" dirty="0"/>
              <a:t>O B R I G A D O!</a:t>
            </a:r>
          </a:p>
        </p:txBody>
      </p:sp>
      <p:pic>
        <p:nvPicPr>
          <p:cNvPr id="4301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93063" y="5792788"/>
            <a:ext cx="936625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3" name="Picture 3" descr="Cabeçalho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25800" y="5835650"/>
            <a:ext cx="4640263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4" name="Retângulo 1"/>
          <p:cNvSpPr>
            <a:spLocks noChangeArrowheads="1"/>
          </p:cNvSpPr>
          <p:nvPr/>
        </p:nvSpPr>
        <p:spPr bwMode="auto">
          <a:xfrm>
            <a:off x="6384925" y="4933950"/>
            <a:ext cx="254476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buFont typeface="Arial" charset="0"/>
              <a:buNone/>
            </a:pPr>
            <a:r>
              <a:rPr lang="pt-BR" altLang="pt-BR"/>
              <a:t>Prof. Fernando Passos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8488" y="1739898"/>
            <a:ext cx="8058150" cy="78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tângulo 7"/>
          <p:cNvSpPr/>
          <p:nvPr/>
        </p:nvSpPr>
        <p:spPr>
          <a:xfrm>
            <a:off x="1391920" y="1770638"/>
            <a:ext cx="65532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3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É   P R E C I S O   A G I R   !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579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0" algn="just">
              <a:buFont typeface="Arial" charset="0"/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No Brasil, o Investidor sempre se deparou com considerável insegurança jurídica com relação às Normas de Direito inerentes à empresa, o que se constata facilmente, não só pela realidade, mas pelos indicativos internacionais conforme se verá adiante.</a:t>
            </a:r>
          </a:p>
          <a:p>
            <a:pPr marL="0" indent="0" algn="just">
              <a:buFont typeface="Arial" charset="0"/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É urgente a tarefa de se instituir um Código de Defesa do Empresário e da Empresa.</a:t>
            </a:r>
          </a:p>
          <a:p>
            <a:pPr marL="0" indent="0" algn="just">
              <a:buFont typeface="Arial" charset="0"/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0" algn="just">
              <a:buFont typeface="Arial" charset="0"/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Como o Empresário não tem um Código em sua defesa, outras normas se sobrepõem ao Direito Empresarial, ocasionando, por exemplo:</a:t>
            </a:r>
          </a:p>
          <a:p>
            <a:pPr marL="0" indent="0" algn="just">
              <a:buFont typeface="Arial" charset="0"/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(i) A Não Aplicação da Limitação da Responsabilidade dos Sócios;</a:t>
            </a:r>
          </a:p>
          <a:p>
            <a:pPr marL="0" indent="0" algn="just">
              <a:buFont typeface="Arial" charset="0"/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(ii) A Indevida Responsabilização das </a:t>
            </a:r>
            <a:r>
              <a:rPr lang="pt-BR" altLang="pt-BR" dirty="0" err="1" smtClean="0">
                <a:latin typeface="Tahoma" pitchFamily="34" charset="0"/>
                <a:cs typeface="Tahoma" pitchFamily="34" charset="0"/>
              </a:rPr>
              <a:t>UPIs</a:t>
            </a: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 por obrigações de suas antigas controladoras;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0" algn="just">
              <a:buFont typeface="Arial" charset="0"/>
              <a:buNone/>
            </a:pPr>
            <a:endParaRPr lang="pt-BR" altLang="pt-BR" sz="1000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(iii) A extensão da Interpretação de Grupo Econômico;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(iv) O desprezo à Função Social da Empresa;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(v) O não reconhecimento efetivo da importância da Preservação da Empresa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Dois Bons Exemplos Recentes onde somente a positivação reparou as injustiças: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) </a:t>
            </a:r>
            <a:r>
              <a:rPr lang="pt-BR" altLang="pt-BR" u="sng" dirty="0" err="1" smtClean="0">
                <a:latin typeface="Tahoma" pitchFamily="34" charset="0"/>
                <a:cs typeface="Tahoma" pitchFamily="34" charset="0"/>
              </a:rPr>
              <a:t>UPIs</a:t>
            </a: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 (Unidades Produtivas Isoladas)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Art. 60 e 141 da Lei de Falências.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i) Grupo Econômico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Nova redação dos §§ 2° e 3° do art. 2° da CLT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) </a:t>
            </a:r>
            <a:r>
              <a:rPr lang="pt-BR" altLang="pt-BR" u="sng" dirty="0" err="1" smtClean="0">
                <a:latin typeface="Tahoma" pitchFamily="34" charset="0"/>
                <a:cs typeface="Tahoma" pitchFamily="34" charset="0"/>
              </a:rPr>
              <a:t>UPIs</a:t>
            </a: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 (Unidades Produtivas Isoladas)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    Art. 60 e 141 da Lei de Falências.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Vários Princípios essenciais à vida da empresa estão aqui contemplados, especialmente a preservação da empresa e o incremento de liquidez à massa, minimizando perdas dos credores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Espaço Reservado para Conteúdo 2"/>
          <p:cNvSpPr>
            <a:spLocks noGrp="1"/>
          </p:cNvSpPr>
          <p:nvPr>
            <p:ph idx="1"/>
          </p:nvPr>
        </p:nvSpPr>
        <p:spPr>
          <a:xfrm>
            <a:off x="381000" y="1752600"/>
            <a:ext cx="8394700" cy="4525963"/>
          </a:xfrm>
        </p:spPr>
        <p:txBody>
          <a:bodyPr/>
          <a:lstStyle/>
          <a:p>
            <a:pPr marL="0" indent="-571500" algn="just">
              <a:spcBef>
                <a:spcPts val="0"/>
              </a:spcBef>
              <a:buNone/>
            </a:pP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(i) </a:t>
            </a:r>
            <a:r>
              <a:rPr lang="pt-BR" altLang="pt-BR" u="sng" dirty="0" err="1" smtClean="0">
                <a:latin typeface="Tahoma" pitchFamily="34" charset="0"/>
                <a:cs typeface="Tahoma" pitchFamily="34" charset="0"/>
              </a:rPr>
              <a:t>UPIs</a:t>
            </a:r>
            <a:r>
              <a:rPr lang="pt-BR" altLang="pt-BR" u="sng" dirty="0" smtClean="0">
                <a:latin typeface="Tahoma" pitchFamily="34" charset="0"/>
                <a:cs typeface="Tahoma" pitchFamily="34" charset="0"/>
              </a:rPr>
              <a:t> (Unidades Produtivas Isoladas)</a:t>
            </a: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    Art. 60 e 141 da Lei de Falências.</a:t>
            </a:r>
          </a:p>
          <a:p>
            <a:pPr marL="0" indent="-571500" algn="just">
              <a:spcBef>
                <a:spcPts val="0"/>
              </a:spcBef>
              <a:buNone/>
            </a:pPr>
            <a:endParaRPr lang="pt-BR" altLang="pt-BR" dirty="0" smtClean="0">
              <a:latin typeface="Tahoma" pitchFamily="34" charset="0"/>
              <a:cs typeface="Tahoma" pitchFamily="34" charset="0"/>
            </a:endParaRPr>
          </a:p>
          <a:p>
            <a:pPr marL="0" indent="-571500" algn="just">
              <a:spcBef>
                <a:spcPts val="0"/>
              </a:spcBef>
              <a:buNone/>
            </a:pPr>
            <a:r>
              <a:rPr lang="pt-BR" altLang="pt-BR" dirty="0" smtClean="0">
                <a:latin typeface="Tahoma" pitchFamily="34" charset="0"/>
                <a:cs typeface="Tahoma" pitchFamily="34" charset="0"/>
              </a:rPr>
              <a:t>O Supremo Tribunal Federal (ADI 3.934-2 DF) considerou referidos artigos constitucionais, pois dão “concreção a valores constitucionais”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5400"/>
            <a:ext cx="8229600" cy="1231900"/>
          </a:xfrm>
          <a:ln>
            <a:solidFill>
              <a:schemeClr val="accent1"/>
            </a:solidFill>
          </a:ln>
        </p:spPr>
        <p:txBody>
          <a:bodyPr/>
          <a:lstStyle/>
          <a:p>
            <a:pPr>
              <a:defRPr/>
            </a:pP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Audiência Pública – Senado Federal</a:t>
            </a:r>
            <a:br>
              <a:rPr lang="pt-BR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Código Comercial - PLS 487/2013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MO1wH2JUKSKoiMx63f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QLxAJ3HUG.aC2qMWq8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x00bdkU.yRd9OWvO5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MO1wH2JUKSKoiMx63f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QLxAJ3HUG.aC2qMWq8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x00bdkU.yRd9OWvO5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kIuesrIk6zowxLSfqH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2_Blank">
      <a:majorFont>
        <a:latin typeface=""/>
        <a:ea typeface="Arial"/>
        <a:cs typeface=""/>
      </a:majorFont>
      <a:minorFont>
        <a:latin typeface=""/>
        <a:ea typeface="Arial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2_Blank">
      <a:majorFont>
        <a:latin typeface=""/>
        <a:ea typeface="Arial"/>
        <a:cs typeface=""/>
      </a:majorFont>
      <a:minorFont>
        <a:latin typeface=""/>
        <a:ea typeface="Arial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lg" len="lg"/>
          <a:tailEnd type="arrow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22</TotalTime>
  <Words>1089</Words>
  <Application>Microsoft Office PowerPoint</Application>
  <PresentationFormat>Apresentação na tela (4:3)</PresentationFormat>
  <Paragraphs>102</Paragraphs>
  <Slides>3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35" baseType="lpstr">
      <vt:lpstr>4_Tema do Office</vt:lpstr>
      <vt:lpstr>2_Blank</vt:lpstr>
      <vt:lpstr>3_Blank</vt:lpstr>
      <vt:lpstr>4_Custom Design</vt:lpstr>
      <vt:lpstr>think-cell Slide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  <vt:lpstr>Audiência Pública – Senado Federal Código Comercial - PLS 487/2013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aniel</dc:creator>
  <cp:lastModifiedBy>Administrador</cp:lastModifiedBy>
  <cp:revision>1306</cp:revision>
  <cp:lastPrinted>2016-04-28T15:43:04Z</cp:lastPrinted>
  <dcterms:created xsi:type="dcterms:W3CDTF">2011-08-23T21:25:13Z</dcterms:created>
  <dcterms:modified xsi:type="dcterms:W3CDTF">2018-04-11T16:16:05Z</dcterms:modified>
</cp:coreProperties>
</file>